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9" r:id="rId1"/>
  </p:sldMasterIdLst>
  <p:notesMasterIdLst>
    <p:notesMasterId r:id="rId12"/>
  </p:notesMasterIdLst>
  <p:handoutMasterIdLst>
    <p:handoutMasterId r:id="rId13"/>
  </p:handoutMasterIdLst>
  <p:sldIdLst>
    <p:sldId id="910" r:id="rId2"/>
    <p:sldId id="1018" r:id="rId3"/>
    <p:sldId id="1019" r:id="rId4"/>
    <p:sldId id="1001" r:id="rId5"/>
    <p:sldId id="1014" r:id="rId6"/>
    <p:sldId id="1011" r:id="rId7"/>
    <p:sldId id="1017" r:id="rId8"/>
    <p:sldId id="864" r:id="rId9"/>
    <p:sldId id="896" r:id="rId10"/>
    <p:sldId id="897" r:id="rId11"/>
  </p:sldIdLst>
  <p:sldSz cx="9144000" cy="6858000" type="screen4x3"/>
  <p:notesSz cx="6946900" cy="92837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3333FF"/>
    <a:srgbClr val="EBEBEB"/>
    <a:srgbClr val="E3E3E3"/>
    <a:srgbClr val="F2F2F2"/>
    <a:srgbClr val="C0C0C0"/>
    <a:srgbClr val="EAEAEA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0701" autoAdjust="0"/>
  </p:normalViewPr>
  <p:slideViewPr>
    <p:cSldViewPr snapToGrid="0" snapToObjects="1">
      <p:cViewPr varScale="1">
        <p:scale>
          <a:sx n="102" d="100"/>
          <a:sy n="102" d="100"/>
        </p:scale>
        <p:origin x="1920" y="1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10.xml"/><Relationship Id="rId12" Type="http://schemas.openxmlformats.org/officeDocument/2006/relationships/notesMaster" Target="notesMasters/notesMaster1.xml"/><Relationship Id="rId13" Type="http://schemas.openxmlformats.org/officeDocument/2006/relationships/handoutMaster" Target="handoutMasters/handoutMaster1.xml"/><Relationship Id="rId14" Type="http://schemas.openxmlformats.org/officeDocument/2006/relationships/presProps" Target="presProps.xml"/><Relationship Id="rId15" Type="http://schemas.openxmlformats.org/officeDocument/2006/relationships/viewProps" Target="viewProps.xml"/><Relationship Id="rId16" Type="http://schemas.openxmlformats.org/officeDocument/2006/relationships/theme" Target="theme/theme1.xml"/><Relationship Id="rId17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2736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b="1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37000" y="0"/>
            <a:ext cx="302736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b="1" smtClean="0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9C41535-BB11-4A8B-944F-6C78E08581C0}" type="datetime1">
              <a:rPr lang="en-US" altLang="en-US"/>
              <a:pPr>
                <a:defRPr/>
              </a:pPr>
              <a:t>3/24/17</a:t>
            </a:fld>
            <a:endParaRPr lang="en-US" altLang="en-US"/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43963"/>
            <a:ext cx="302736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b="1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37000" y="8843963"/>
            <a:ext cx="302736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b="1" smtClean="0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4FB86E6-A1B3-4ADB-91FF-5D4C2DDC1D2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52525" y="227013"/>
            <a:ext cx="4641850" cy="34813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4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73050" y="3927475"/>
            <a:ext cx="6400800" cy="466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noProof="0"/>
              <a:t>Click to edit Master text styles</a:t>
            </a:r>
          </a:p>
        </p:txBody>
      </p:sp>
      <p:sp>
        <p:nvSpPr>
          <p:cNvPr id="1434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18563"/>
            <a:ext cx="30099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Times New Roman" pitchFamily="18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1434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35413" y="8818563"/>
            <a:ext cx="30099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6" tIns="45739" rIns="91476" bIns="45739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CE639A2-3FAC-4EBB-A070-D668385A60B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12" charset="0"/>
        <a:ea typeface="MS PGothic" pitchFamily="34" charset="-128"/>
        <a:cs typeface="MS PGothic" pitchFamily="34" charset="-128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12" charset="0"/>
        <a:ea typeface="MS PGothic" pitchFamily="34" charset="-128"/>
        <a:cs typeface="MS PGothic" pitchFamily="34" charset="-128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12" charset="0"/>
        <a:ea typeface="MS PGothic" pitchFamily="34" charset="-128"/>
        <a:cs typeface="MS PGothic" pitchFamily="34" charset="-128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12" charset="0"/>
        <a:ea typeface="MS PGothic" pitchFamily="34" charset="-128"/>
        <a:cs typeface="MS PGothic" pitchFamily="34" charset="-128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12" charset="0"/>
        <a:ea typeface="MS PGothic" pitchFamily="34" charset="-128"/>
        <a:cs typeface="MS PGothic" pitchFamily="34" charset="-128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>
                <a:latin typeface="Helvetica" panose="020B0604020202020204" pitchFamily="34" charset="0"/>
              </a:rPr>
              <a:t>IBM Big Data &amp; Analytics</a:t>
            </a:r>
            <a:r>
              <a:rPr lang="en-US" altLang="en-US" sz="1300">
                <a:latin typeface="Helvetica" panose="020B0604020202020204" pitchFamily="34" charset="0"/>
              </a:rPr>
              <a:t/>
            </a:r>
            <a:br>
              <a:rPr lang="en-US" altLang="en-US" sz="1300">
                <a:latin typeface="Helvetica" panose="020B0604020202020204" pitchFamily="34" charset="0"/>
              </a:rPr>
            </a:br>
            <a:r>
              <a:rPr lang="en-US" altLang="en-US">
                <a:latin typeface="Helvetica" panose="020B0604020202020204" pitchFamily="34" charset="0"/>
              </a:rPr>
              <a:t>© 2013 IBM Corporation</a:t>
            </a:r>
          </a:p>
        </p:txBody>
      </p:sp>
      <p:sp>
        <p:nvSpPr>
          <p:cNvPr id="614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BA0E453D-6841-42C5-9D29-9F3B9BFD66C7}" type="slidenum">
              <a:rPr lang="en-US" altLang="en-US">
                <a:latin typeface="Helvetica" panose="020B0604020202020204" pitchFamily="34" charset="0"/>
              </a:rPr>
              <a:pPr>
                <a:spcBef>
                  <a:spcPct val="0"/>
                </a:spcBef>
              </a:pPr>
              <a:t>1</a:t>
            </a:fld>
            <a:endParaRPr lang="en-US" altLang="en-US">
              <a:latin typeface="Helvetica" panose="020B0604020202020204" pitchFamily="34" charset="0"/>
            </a:endParaRPr>
          </a:p>
        </p:txBody>
      </p:sp>
      <p:sp>
        <p:nvSpPr>
          <p:cNvPr id="614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latin typeface="Helvetica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CE639A2-3FAC-4EBB-A070-D668385A60BA}" type="slidenum">
              <a:rPr lang="en-US" altLang="en-US" smtClean="0"/>
              <a:pPr>
                <a:defRPr/>
              </a:pPr>
              <a:t>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105040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/>
              <a:t>IBM Big Data &amp; Analytics</a:t>
            </a:r>
            <a:br>
              <a:rPr lang="en-US" altLang="en-US"/>
            </a:br>
            <a:r>
              <a:rPr lang="en-US" altLang="en-US"/>
              <a:t>© 2014 IBM Corporation</a:t>
            </a:r>
          </a:p>
        </p:txBody>
      </p:sp>
      <p:sp>
        <p:nvSpPr>
          <p:cNvPr id="11161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4053B66C-EC67-4581-93C3-C6080761B002}" type="slidenum">
              <a:rPr lang="en-US" altLang="en-US"/>
              <a:pPr>
                <a:spcBef>
                  <a:spcPct val="0"/>
                </a:spcBef>
              </a:pPr>
              <a:t>9</a:t>
            </a:fld>
            <a:endParaRPr lang="en-US" altLang="en-US"/>
          </a:p>
        </p:txBody>
      </p:sp>
      <p:sp>
        <p:nvSpPr>
          <p:cNvPr id="11162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33588" y="671513"/>
            <a:ext cx="2890837" cy="2168525"/>
          </a:xfrm>
          <a:ln/>
        </p:spPr>
      </p:sp>
      <p:sp>
        <p:nvSpPr>
          <p:cNvPr id="1085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95325" y="2951163"/>
            <a:ext cx="5556250" cy="5635625"/>
          </a:xfrm>
        </p:spPr>
        <p:txBody>
          <a:bodyPr/>
          <a:lstStyle/>
          <a:p>
            <a:pPr eaLnBrk="1" hangingPunct="1">
              <a:defRPr/>
            </a:pPr>
            <a:endParaRPr lang="en-US"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/>
              <a:t>IBM Big Data &amp; Analytics</a:t>
            </a:r>
            <a:br>
              <a:rPr lang="en-US" altLang="en-US"/>
            </a:br>
            <a:r>
              <a:rPr lang="en-US" altLang="en-US"/>
              <a:t>© 2014 IBM Corporation</a:t>
            </a:r>
          </a:p>
        </p:txBody>
      </p:sp>
      <p:sp>
        <p:nvSpPr>
          <p:cNvPr id="12185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CCE42165-C474-4840-9675-1455D1578C41}" type="slidenum">
              <a:rPr lang="en-US" altLang="en-US"/>
              <a:pPr>
                <a:spcBef>
                  <a:spcPct val="0"/>
                </a:spcBef>
              </a:pPr>
              <a:t>10</a:t>
            </a:fld>
            <a:endParaRPr lang="en-US" altLang="en-US"/>
          </a:p>
        </p:txBody>
      </p:sp>
      <p:sp>
        <p:nvSpPr>
          <p:cNvPr id="12186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631950" y="652463"/>
            <a:ext cx="3735388" cy="2801937"/>
          </a:xfrm>
          <a:ln/>
        </p:spPr>
      </p:sp>
      <p:sp>
        <p:nvSpPr>
          <p:cNvPr id="7168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5" descr="DB2_LUW_Banne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113" y="3025775"/>
            <a:ext cx="8612187" cy="206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Line 9"/>
          <p:cNvSpPr>
            <a:spLocks noChangeShapeType="1"/>
          </p:cNvSpPr>
          <p:nvPr/>
        </p:nvSpPr>
        <p:spPr bwMode="auto">
          <a:xfrm>
            <a:off x="261938" y="488950"/>
            <a:ext cx="86137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6" name="Picture 10" descr="R120_G137_B251-20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0400" y="188913"/>
            <a:ext cx="588963" cy="236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261938" y="6654800"/>
            <a:ext cx="862012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32"/>
          <p:cNvSpPr>
            <a:spLocks noChangeArrowheads="1"/>
          </p:cNvSpPr>
          <p:nvPr/>
        </p:nvSpPr>
        <p:spPr bwMode="auto">
          <a:xfrm>
            <a:off x="7553325" y="6657975"/>
            <a:ext cx="1420813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defRPr/>
            </a:pPr>
            <a:r>
              <a:rPr lang="en-US" altLang="en-US" sz="800" dirty="0"/>
              <a:t>© </a:t>
            </a:r>
            <a:r>
              <a:rPr lang="en-US" altLang="en-US" sz="800" dirty="0" smtClean="0"/>
              <a:t>2017 </a:t>
            </a:r>
            <a:r>
              <a:rPr lang="en-US" altLang="en-US" sz="800" dirty="0"/>
              <a:t>IBM Corporation</a:t>
            </a:r>
          </a:p>
        </p:txBody>
      </p:sp>
      <p:sp>
        <p:nvSpPr>
          <p:cNvPr id="22530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23850" y="1460500"/>
            <a:ext cx="7772400" cy="1470025"/>
          </a:xfrm>
        </p:spPr>
        <p:txBody>
          <a:bodyPr anchor="b"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en-US" noProof="0"/>
              <a:t>Click to edit Master title style</a:t>
            </a:r>
          </a:p>
        </p:txBody>
      </p:sp>
      <p:sp>
        <p:nvSpPr>
          <p:cNvPr id="22531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23850" y="5216525"/>
            <a:ext cx="8661400" cy="1362075"/>
          </a:xfrm>
        </p:spPr>
        <p:txBody>
          <a:bodyPr/>
          <a:lstStyle>
            <a:lvl1pPr marL="0" indent="0">
              <a:buFont typeface="Wingdings" pitchFamily="2" charset="2"/>
              <a:buNone/>
              <a:defRPr sz="1600" b="0" smtClean="0"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68223862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52120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69063" y="604838"/>
            <a:ext cx="2038350" cy="55784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52425" y="604838"/>
            <a:ext cx="5964238" cy="55784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042325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425" y="604838"/>
            <a:ext cx="7402513" cy="7270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66738" y="2090738"/>
            <a:ext cx="7940675" cy="4092575"/>
          </a:xfrm>
        </p:spPr>
        <p:txBody>
          <a:bodyPr/>
          <a:lstStyle/>
          <a:p>
            <a:pPr lvl="0"/>
            <a:r>
              <a:rPr lang="en-US" noProof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8586641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352425" y="604838"/>
            <a:ext cx="8154988" cy="55784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69507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425" y="604838"/>
            <a:ext cx="7402513" cy="7270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66738" y="2090738"/>
            <a:ext cx="3894137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13275" y="2090738"/>
            <a:ext cx="3894138" cy="19700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13275" y="4213225"/>
            <a:ext cx="3894138" cy="1970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43070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425" y="604838"/>
            <a:ext cx="7402513" cy="7270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66738" y="2090738"/>
            <a:ext cx="3894137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3275" y="2090738"/>
            <a:ext cx="3894138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76102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638985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63408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66738" y="2090738"/>
            <a:ext cx="3894137" cy="4092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3275" y="2090738"/>
            <a:ext cx="3894138" cy="4092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1934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359265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07790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13417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05746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84769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7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65100" y="538163"/>
            <a:ext cx="8805863" cy="598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– should be all initial caps</a:t>
            </a: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5100" y="1236663"/>
            <a:ext cx="8805863" cy="5167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28" name="Line 9"/>
          <p:cNvSpPr>
            <a:spLocks noChangeShapeType="1"/>
          </p:cNvSpPr>
          <p:nvPr/>
        </p:nvSpPr>
        <p:spPr bwMode="auto">
          <a:xfrm>
            <a:off x="261938" y="488950"/>
            <a:ext cx="86137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1029" name="Picture 10" descr="R120_G137_B251-200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0400" y="188913"/>
            <a:ext cx="588963" cy="236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Line 10"/>
          <p:cNvSpPr>
            <a:spLocks noChangeShapeType="1"/>
          </p:cNvSpPr>
          <p:nvPr/>
        </p:nvSpPr>
        <p:spPr bwMode="auto">
          <a:xfrm>
            <a:off x="261938" y="6654800"/>
            <a:ext cx="862012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31" name="Rectangle 31"/>
          <p:cNvSpPr>
            <a:spLocks noChangeArrowheads="1"/>
          </p:cNvSpPr>
          <p:nvPr/>
        </p:nvSpPr>
        <p:spPr bwMode="black">
          <a:xfrm>
            <a:off x="165100" y="6654800"/>
            <a:ext cx="39528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2075" tIns="46038" rIns="92075" bIns="46038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fld id="{D6CA7DB8-5028-4314-B186-65A41A643677}" type="slidenum">
              <a:rPr lang="en-US" altLang="en-US" sz="800" smtClean="0"/>
              <a:pPr eaLnBrk="1" hangingPunct="1">
                <a:defRPr/>
              </a:pPr>
              <a:t>‹#›</a:t>
            </a:fld>
            <a:endParaRPr lang="en-US" altLang="en-US" sz="800"/>
          </a:p>
        </p:txBody>
      </p:sp>
      <p:sp>
        <p:nvSpPr>
          <p:cNvPr id="1032" name="Rectangle 32"/>
          <p:cNvSpPr>
            <a:spLocks noChangeArrowheads="1"/>
          </p:cNvSpPr>
          <p:nvPr/>
        </p:nvSpPr>
        <p:spPr bwMode="auto">
          <a:xfrm>
            <a:off x="7553325" y="6657975"/>
            <a:ext cx="1420813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defRPr/>
            </a:pPr>
            <a:r>
              <a:rPr lang="en-US" altLang="en-US" sz="800" dirty="0"/>
              <a:t>© </a:t>
            </a:r>
            <a:r>
              <a:rPr lang="en-US" altLang="en-US" sz="800" dirty="0" smtClean="0"/>
              <a:t>2017 </a:t>
            </a:r>
            <a:r>
              <a:rPr lang="en-US" altLang="en-US" sz="800" dirty="0"/>
              <a:t>IBM Corporatio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56" r:id="rId1"/>
    <p:sldLayoutId id="2147484242" r:id="rId2"/>
    <p:sldLayoutId id="2147484243" r:id="rId3"/>
    <p:sldLayoutId id="2147484244" r:id="rId4"/>
    <p:sldLayoutId id="2147484245" r:id="rId5"/>
    <p:sldLayoutId id="2147484246" r:id="rId6"/>
    <p:sldLayoutId id="2147484247" r:id="rId7"/>
    <p:sldLayoutId id="2147484248" r:id="rId8"/>
    <p:sldLayoutId id="2147484249" r:id="rId9"/>
    <p:sldLayoutId id="2147484250" r:id="rId10"/>
    <p:sldLayoutId id="2147484251" r:id="rId11"/>
    <p:sldLayoutId id="2147484252" r:id="rId12"/>
    <p:sldLayoutId id="2147484253" r:id="rId13"/>
    <p:sldLayoutId id="2147484254" r:id="rId14"/>
    <p:sldLayoutId id="2147484255" r:id="rId15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hlink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hlink"/>
          </a:solidFill>
          <a:latin typeface="Arial" pitchFamily="-112" charset="0"/>
          <a:ea typeface="MS PGothic" panose="020B0600070205080204" pitchFamily="34" charset="-128"/>
          <a:cs typeface="Arial" pitchFamily="-11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hlink"/>
          </a:solidFill>
          <a:latin typeface="Arial" pitchFamily="-112" charset="0"/>
          <a:ea typeface="MS PGothic" panose="020B0600070205080204" pitchFamily="34" charset="-128"/>
          <a:cs typeface="Arial" pitchFamily="-11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hlink"/>
          </a:solidFill>
          <a:latin typeface="Arial" pitchFamily="-112" charset="0"/>
          <a:ea typeface="MS PGothic" panose="020B0600070205080204" pitchFamily="34" charset="-128"/>
          <a:cs typeface="Arial" pitchFamily="-11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hlink"/>
          </a:solidFill>
          <a:latin typeface="Arial" pitchFamily="-112" charset="0"/>
          <a:ea typeface="MS PGothic" panose="020B0600070205080204" pitchFamily="34" charset="-128"/>
          <a:cs typeface="Arial" pitchFamily="-112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-112" charset="0"/>
          <a:ea typeface="Arial" pitchFamily="-112" charset="0"/>
          <a:cs typeface="Arial" pitchFamily="-11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-112" charset="0"/>
          <a:ea typeface="Arial" pitchFamily="-112" charset="0"/>
          <a:cs typeface="Arial" pitchFamily="-11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-112" charset="0"/>
          <a:ea typeface="Arial" pitchFamily="-112" charset="0"/>
          <a:cs typeface="Arial" pitchFamily="-11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-112" charset="0"/>
          <a:ea typeface="Arial" pitchFamily="-112" charset="0"/>
          <a:cs typeface="Arial" pitchFamily="-112" charset="0"/>
        </a:defRPr>
      </a:lvl9pPr>
    </p:titleStyle>
    <p:bodyStyle>
      <a:lvl1pPr marL="228600" indent="-228600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2000" b="1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571500" indent="-228600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3pPr>
      <a:lvl4pPr marL="1257300" indent="-228600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SzPct val="65000"/>
        <a:buFont typeface="Wingdings" panose="05000000000000000000" pitchFamily="2" charset="2"/>
        <a:buChar char="q"/>
        <a:defRPr sz="1400">
          <a:solidFill>
            <a:schemeClr val="tx1"/>
          </a:solidFill>
          <a:latin typeface="+mn-lt"/>
          <a:ea typeface="+mn-ea"/>
          <a:cs typeface="+mn-cs"/>
        </a:defRPr>
      </a:lvl4pPr>
      <a:lvl5pPr marL="1600200" indent="-228600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&gt;"/>
        <a:defRPr sz="1400">
          <a:solidFill>
            <a:schemeClr val="tx1"/>
          </a:solidFill>
          <a:latin typeface="+mn-lt"/>
          <a:ea typeface="+mn-ea"/>
          <a:cs typeface="+mn-cs"/>
        </a:defRPr>
      </a:lvl5pPr>
      <a:lvl6pPr marL="2457450" indent="-1714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-112" charset="2"/>
        <a:buChar char="§"/>
        <a:defRPr sz="1200">
          <a:solidFill>
            <a:schemeClr val="tx1"/>
          </a:solidFill>
          <a:latin typeface="+mn-lt"/>
          <a:ea typeface="+mn-ea"/>
          <a:cs typeface="+mn-cs"/>
        </a:defRPr>
      </a:lvl6pPr>
      <a:lvl7pPr marL="2914650" indent="-1714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-112" charset="2"/>
        <a:buChar char="§"/>
        <a:defRPr sz="1200">
          <a:solidFill>
            <a:schemeClr val="tx1"/>
          </a:solidFill>
          <a:latin typeface="+mn-lt"/>
          <a:ea typeface="+mn-ea"/>
          <a:cs typeface="+mn-cs"/>
        </a:defRPr>
      </a:lvl7pPr>
      <a:lvl8pPr marL="3371850" indent="-1714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-112" charset="2"/>
        <a:buChar char="§"/>
        <a:defRPr sz="1200">
          <a:solidFill>
            <a:schemeClr val="tx1"/>
          </a:solidFill>
          <a:latin typeface="+mn-lt"/>
          <a:ea typeface="+mn-ea"/>
          <a:cs typeface="+mn-cs"/>
        </a:defRPr>
      </a:lvl8pPr>
      <a:lvl9pPr marL="3829050" indent="-1714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-112" charset="2"/>
        <a:buChar char="§"/>
        <a:defRPr sz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3.emf"/><Relationship Id="rId7" Type="http://schemas.openxmlformats.org/officeDocument/2006/relationships/image" Target="../media/image4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spark.apache.org/docs/latest/ml-guide.html#estimators" TargetMode="External"/><Relationship Id="rId4" Type="http://schemas.openxmlformats.org/officeDocument/2006/relationships/hyperlink" Target="https://spark.apache.org/docs/latest/ml-guide.html#pipeline" TargetMode="External"/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spark.apache.org/docs/latest/ml-guide.html#dataframe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8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Rectangle 4"/>
          <p:cNvSpPr>
            <a:spLocks noGrp="1" noChangeArrowheads="1"/>
          </p:cNvSpPr>
          <p:nvPr>
            <p:ph type="ctrTitle"/>
          </p:nvPr>
        </p:nvSpPr>
        <p:spPr bwMode="gray">
          <a:xfrm>
            <a:off x="327025" y="615752"/>
            <a:ext cx="8435975" cy="714375"/>
          </a:xfrm>
        </p:spPr>
        <p:txBody>
          <a:bodyPr anchor="t"/>
          <a:lstStyle/>
          <a:p>
            <a:pPr algn="ctr" eaLnBrk="1" hangingPunct="1">
              <a:tabLst>
                <a:tab pos="914400" algn="l"/>
              </a:tabLst>
            </a:pPr>
            <a:r>
              <a:rPr lang="en-US" altLang="en-US" sz="3600" dirty="0">
                <a:latin typeface="Helvetica" panose="020B0604020202020204" pitchFamily="34" charset="0"/>
              </a:rPr>
              <a:t>Spark Machine Learning</a:t>
            </a:r>
            <a:br>
              <a:rPr lang="en-US" altLang="en-US" sz="3600" dirty="0">
                <a:latin typeface="Helvetica" panose="020B0604020202020204" pitchFamily="34" charset="0"/>
              </a:rPr>
            </a:br>
            <a:r>
              <a:rPr lang="en-US" altLang="en-US" sz="3600" dirty="0">
                <a:latin typeface="Helvetica" panose="020B0604020202020204" pitchFamily="34" charset="0"/>
              </a:rPr>
              <a:t>Classification</a:t>
            </a:r>
            <a:br>
              <a:rPr lang="en-US" altLang="en-US" sz="3600" dirty="0">
                <a:latin typeface="Helvetica" panose="020B0604020202020204" pitchFamily="34" charset="0"/>
              </a:rPr>
            </a:br>
            <a:r>
              <a:rPr lang="en-US" altLang="en-US" sz="3600" dirty="0">
                <a:latin typeface="Helvetica" panose="020B0604020202020204" pitchFamily="34" charset="0"/>
              </a:rPr>
              <a:t/>
            </a:r>
            <a:br>
              <a:rPr lang="en-US" altLang="en-US" sz="3600" dirty="0">
                <a:latin typeface="Helvetica" panose="020B0604020202020204" pitchFamily="34" charset="0"/>
              </a:rPr>
            </a:br>
            <a:endParaRPr lang="en-US" altLang="en-US" sz="3600" dirty="0">
              <a:latin typeface="Helvetica" panose="020B0604020202020204" pitchFamily="34" charset="0"/>
            </a:endParaRPr>
          </a:p>
        </p:txBody>
      </p:sp>
      <p:sp>
        <p:nvSpPr>
          <p:cNvPr id="4" name="Rectangle 4"/>
          <p:cNvSpPr txBox="1">
            <a:spLocks noChangeArrowheads="1"/>
          </p:cNvSpPr>
          <p:nvPr/>
        </p:nvSpPr>
        <p:spPr bwMode="gray">
          <a:xfrm>
            <a:off x="327025" y="5295900"/>
            <a:ext cx="8569325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t"/>
          <a:lstStyle/>
          <a:p>
            <a:pPr eaLnBrk="1" hangingPunct="1">
              <a:tabLst>
                <a:tab pos="914400" algn="l"/>
              </a:tabLst>
              <a:defRPr/>
            </a:pPr>
            <a:r>
              <a:rPr lang="en-US" sz="2000" b="1" dirty="0">
                <a:latin typeface="Helvetica" pitchFamily="34" charset="0"/>
                <a:ea typeface="+mj-ea"/>
                <a:cs typeface="+mj-cs"/>
              </a:rPr>
              <a:t>US Federal Spark POT</a:t>
            </a:r>
          </a:p>
          <a:p>
            <a:pPr eaLnBrk="1" hangingPunct="1">
              <a:tabLst>
                <a:tab pos="914400" algn="l"/>
              </a:tabLst>
              <a:defRPr/>
            </a:pPr>
            <a:r>
              <a:rPr lang="en-US" sz="2000" b="1" dirty="0">
                <a:solidFill>
                  <a:srgbClr val="000000"/>
                </a:solidFill>
                <a:latin typeface="Helvetica"/>
                <a:ea typeface="+mj-ea"/>
                <a:cs typeface="+mj-cs"/>
              </a:rPr>
              <a:t>30 March 2017</a:t>
            </a:r>
          </a:p>
          <a:p>
            <a:pPr eaLnBrk="1" hangingPunct="1">
              <a:tabLst>
                <a:tab pos="914400" algn="l"/>
              </a:tabLst>
              <a:defRPr/>
            </a:pPr>
            <a:r>
              <a:rPr lang="en-US" sz="2000" b="1" dirty="0">
                <a:latin typeface="Helvetica" pitchFamily="34" charset="0"/>
                <a:ea typeface="+mj-ea"/>
                <a:cs typeface="+mj-cs"/>
              </a:rPr>
              <a:t>	        </a:t>
            </a:r>
          </a:p>
        </p:txBody>
      </p:sp>
      <p:pic>
        <p:nvPicPr>
          <p:cNvPr id="5125" name="Picture 8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913" y="3368675"/>
            <a:ext cx="2286000" cy="1211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0834" name="Picture 4" descr="5300_IBM_Black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1550" y="3009900"/>
            <a:ext cx="2220913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ark ML Pipeline Terminology</a:t>
            </a:r>
          </a:p>
        </p:txBody>
      </p:sp>
      <p:sp>
        <p:nvSpPr>
          <p:cNvPr id="5" name="Rectangle 1"/>
          <p:cNvSpPr>
            <a:spLocks noGrp="1" noChangeArrowheads="1"/>
          </p:cNvSpPr>
          <p:nvPr>
            <p:ph idx="1"/>
          </p:nvPr>
        </p:nvSpPr>
        <p:spPr bwMode="auto">
          <a:xfrm>
            <a:off x="165101" y="1158069"/>
            <a:ext cx="8640572" cy="5324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ClrTx/>
              <a:buNone/>
            </a:pPr>
            <a:r>
              <a:rPr lang="en-US" b="0" dirty="0"/>
              <a:t>Spark ML standardizes APIs for machine learning algorithms to make it easier to combine multiple algorithms into a single pipeline, or workflow</a:t>
            </a:r>
          </a:p>
          <a:p>
            <a:pPr marL="0" indent="0">
              <a:buClrTx/>
              <a:buNone/>
            </a:pPr>
            <a:endParaRPr lang="en-US" altLang="en-US" b="0" dirty="0">
              <a:hlinkClick r:id="rId2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hlinkClick r:id="rId2"/>
              </a:rPr>
              <a:t>DataFrame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Spark ML uses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DataFrame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from Spark SQL as an ML dataset, which can hold a variety of data types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hlinkClick r:id="" action="ppaction://noaction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hlinkClick r:id="" action="ppaction://noaction"/>
              </a:rPr>
              <a:t>Transformer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A Transformer is an algorithm which can transform one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DataFrame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into another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DataFrame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en-US" altLang="en-US" b="0" dirty="0">
              <a:hlinkClick r:id="rId3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hlinkClick r:id="rId3"/>
              </a:rPr>
              <a:t>Estimator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An Estimator is an algorithm which can be fit on a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DataFrame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to produce a Transformer 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en-US" altLang="en-US" b="0" dirty="0">
              <a:hlinkClick r:id="rId4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hlinkClick r:id="rId4"/>
              </a:rPr>
              <a:t>Pipeline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A Pipeline chains multiple Transformers and Estimators together to specify an ML workflow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hlinkClick r:id="" action="ppaction://noaction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hlinkClick r:id="" action="ppaction://noaction"/>
              </a:rPr>
              <a:t>Parameter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All Transformers and Estimators share a common API for specifying parameters</a:t>
            </a:r>
          </a:p>
        </p:txBody>
      </p:sp>
    </p:spTree>
    <p:extLst>
      <p:ext uri="{BB962C8B-B14F-4D97-AF65-F5344CB8AC3E}">
        <p14:creationId xmlns:p14="http://schemas.microsoft.com/office/powerpoint/2010/main" val="34716567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pelines </a:t>
            </a:r>
            <a:r>
              <a:rPr lang="mr-IN" dirty="0"/>
              <a:t>–</a:t>
            </a:r>
            <a:r>
              <a:rPr lang="en-US" dirty="0"/>
              <a:t> How they wor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 Pipeline is specified as a sequence of stages where each stage is either a Transformer or an Estimator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These stages are run in order and the input </a:t>
            </a:r>
            <a:r>
              <a:rPr lang="en-US" dirty="0" err="1"/>
              <a:t>DataFrame</a:t>
            </a:r>
            <a:r>
              <a:rPr lang="en-US" dirty="0"/>
              <a:t> is transformed as it passes through each stage</a:t>
            </a:r>
          </a:p>
          <a:p>
            <a:pPr lvl="1"/>
            <a:r>
              <a:rPr lang="en-US" dirty="0"/>
              <a:t>For Transformer stages, the transform() method is called on the </a:t>
            </a:r>
            <a:r>
              <a:rPr lang="en-US" dirty="0" err="1"/>
              <a:t>DataFrame</a:t>
            </a:r>
            <a:endParaRPr lang="en-US" dirty="0"/>
          </a:p>
          <a:p>
            <a:pPr lvl="1"/>
            <a:r>
              <a:rPr lang="en-US" dirty="0"/>
              <a:t>For Estimator stages, the fit() method is called to produce a Transformer (which becomes part of the fitted Pipeline), and that Transformer’s transform() method is called on the </a:t>
            </a:r>
            <a:r>
              <a:rPr lang="en-US" dirty="0" err="1"/>
              <a:t>DataFrame</a:t>
            </a:r>
            <a:endParaRPr lang="en-US" dirty="0"/>
          </a:p>
          <a:p>
            <a:endParaRPr lang="en-US" dirty="0"/>
          </a:p>
          <a:p>
            <a:r>
              <a:rPr lang="en-US" dirty="0"/>
              <a:t>For example, a simple text document processing workflow might include several stages:</a:t>
            </a:r>
          </a:p>
          <a:p>
            <a:pPr lvl="1"/>
            <a:r>
              <a:rPr lang="en-US" dirty="0"/>
              <a:t>Split each document’s text into words</a:t>
            </a:r>
          </a:p>
          <a:p>
            <a:pPr lvl="1"/>
            <a:r>
              <a:rPr lang="en-US" dirty="0"/>
              <a:t>Convert each document’s words into a numerical feature vector</a:t>
            </a:r>
          </a:p>
          <a:p>
            <a:pPr lvl="1"/>
            <a:r>
              <a:rPr lang="en-US" dirty="0"/>
              <a:t>Learn a prediction model using the feature vectors and label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10094" y="5351462"/>
            <a:ext cx="1085850" cy="1052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4069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 Data </a:t>
            </a:r>
            <a:r>
              <a:rPr lang="mr-IN" dirty="0"/>
              <a:t>–</a:t>
            </a:r>
            <a:r>
              <a:rPr lang="en-US" dirty="0"/>
              <a:t> Generated Female Human Trafficking Dat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We used a data generator to make about 20 million fake travel records based on incoming custom forms.</a:t>
            </a:r>
          </a:p>
          <a:p>
            <a:endParaRPr lang="en-US" dirty="0"/>
          </a:p>
          <a:p>
            <a:r>
              <a:rPr lang="en-US" dirty="0"/>
              <a:t>We selected some records that might indicate patterns of Female Human Trafficking, and asked an analyst to vet them ‘high’, ’medium’, or ‘low’ for potential issues.</a:t>
            </a:r>
          </a:p>
          <a:p>
            <a:endParaRPr lang="en-US" dirty="0"/>
          </a:p>
          <a:p>
            <a:r>
              <a:rPr lang="en-US" dirty="0"/>
              <a:t>This data contains both String based and continuous features.</a:t>
            </a:r>
          </a:p>
        </p:txBody>
      </p:sp>
      <p:pic>
        <p:nvPicPr>
          <p:cNvPr id="1028" name="Picture 4" descr="mage result for Airplane Clip Ar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1463" y="4559969"/>
            <a:ext cx="4152900" cy="1647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94797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5100" y="20803"/>
            <a:ext cx="8805863" cy="598487"/>
          </a:xfrm>
        </p:spPr>
        <p:txBody>
          <a:bodyPr/>
          <a:lstStyle/>
          <a:p>
            <a:r>
              <a:rPr lang="en-US" dirty="0"/>
              <a:t>Demo Data 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1690384"/>
              </p:ext>
            </p:extLst>
          </p:nvPr>
        </p:nvGraphicFramePr>
        <p:xfrm>
          <a:off x="312821" y="619290"/>
          <a:ext cx="8001000" cy="5852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2479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37620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20550"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Fiel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Descrip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20550"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UU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Hash-based unique identifi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20550"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VETTING_LEV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Analyst vetting status : 100- PENDING, 10 </a:t>
                      </a:r>
                      <a:r>
                        <a:rPr lang="mr-IN" sz="1000" baseline="0" dirty="0"/>
                        <a:t>–</a:t>
                      </a:r>
                      <a:r>
                        <a:rPr lang="en-US" sz="1000" baseline="0" dirty="0"/>
                        <a:t> HIGH, 20 </a:t>
                      </a:r>
                      <a:r>
                        <a:rPr lang="mr-IN" sz="1000" baseline="0" dirty="0"/>
                        <a:t>–</a:t>
                      </a:r>
                      <a:r>
                        <a:rPr lang="en-US" sz="1000" baseline="0" dirty="0"/>
                        <a:t> MED, 10 - LO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20550"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Person name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20550"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GEN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Person Gend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20550"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Person age at time of trave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20550"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BIRTH_D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Person birth da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20550"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BIRTH_COUNT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Person full birth countr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20550"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BIRTH_COUNTRY_CO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Person ISO 2 countr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20550"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OCCUP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Person occupation as declared on for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20550"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ADDR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Person US addr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20550"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SS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Person Social Security Numb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20550"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PASSPORT_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Person Passport Numb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20550"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PASSPORT_COUNT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Person Passport Issuing Countr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20550"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PASSPORT_COUNTRY_CO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Person Passport Issuing Country ISO 2 Code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20550"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COUNTRYIES_VISI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The countries visited as declared on for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20550"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COUNTRIES_VISITED_COU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The number of countries visited as declared on for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22055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>
                          <a:effectLst/>
                        </a:rPr>
                        <a:t>ARRIVAL_AIRPORT_COUNTRY_CO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ARRIVAL Airport country code ISO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220550"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AIRPORT_ARRIVAL_I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ARRIVAL Airport 3 character cod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220550"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AIRPORT_ARRIVAL_MUNICIPA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ARRIVAL Airport Municipality Derived from Cod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22055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>
                          <a:effectLst/>
                        </a:rPr>
                        <a:t>ARRIVAL_AIRPORT_REG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ARRIVAL Airport Region Derived from Cod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20"/>
                  </a:ext>
                </a:extLst>
              </a:tr>
              <a:tr h="22055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>
                          <a:effectLst/>
                        </a:rPr>
                        <a:t>DEPARTURE_AIRPORT_COUNTRY_CO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DEPARTURE Airport Country code ISO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21"/>
                  </a:ext>
                </a:extLst>
              </a:tr>
              <a:tr h="22055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>
                          <a:effectLst/>
                        </a:rPr>
                        <a:t>DEPARTURE_AIRPORT_I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DEPARTURE Airport 3 character cod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22"/>
                  </a:ext>
                </a:extLst>
              </a:tr>
              <a:tr h="22055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>
                          <a:effectLst/>
                        </a:rPr>
                        <a:t>DEPARTURE_AIRPORT_MUNICIPA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DEPARTURE Airport Municipality Derived from Cod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255799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 Flo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100" y="1212279"/>
            <a:ext cx="8805863" cy="5167312"/>
          </a:xfrm>
        </p:spPr>
        <p:txBody>
          <a:bodyPr/>
          <a:lstStyle/>
          <a:p>
            <a:r>
              <a:rPr lang="en-US" dirty="0"/>
              <a:t>Read </a:t>
            </a:r>
            <a:r>
              <a:rPr lang="en-US" dirty="0" smtClean="0"/>
              <a:t>in </a:t>
            </a:r>
            <a:r>
              <a:rPr lang="en-US" dirty="0"/>
              <a:t>dataset as a </a:t>
            </a:r>
            <a:r>
              <a:rPr lang="en-US" dirty="0" err="1"/>
              <a:t>DataFrame</a:t>
            </a:r>
            <a:r>
              <a:rPr lang="en-US" dirty="0"/>
              <a:t> from </a:t>
            </a:r>
            <a:r>
              <a:rPr lang="en-US" dirty="0" err="1"/>
              <a:t>dashDB</a:t>
            </a:r>
            <a:endParaRPr lang="en-US" dirty="0"/>
          </a:p>
          <a:p>
            <a:pPr lvl="1"/>
            <a:r>
              <a:rPr lang="en-US" dirty="0"/>
              <a:t>Connect to </a:t>
            </a:r>
            <a:r>
              <a:rPr lang="en-US" dirty="0" err="1"/>
              <a:t>dashDB</a:t>
            </a:r>
            <a:endParaRPr lang="en-US" dirty="0"/>
          </a:p>
          <a:p>
            <a:pPr lvl="1"/>
            <a:r>
              <a:rPr lang="en-US" dirty="0"/>
              <a:t>Label the data (“VETTING_LEVEL”)</a:t>
            </a:r>
          </a:p>
          <a:p>
            <a:pPr lvl="1"/>
            <a:r>
              <a:rPr lang="en-US" dirty="0" err="1"/>
              <a:t>Downselect</a:t>
            </a:r>
            <a:r>
              <a:rPr lang="en-US" dirty="0"/>
              <a:t> and </a:t>
            </a:r>
            <a:r>
              <a:rPr lang="en-US" dirty="0" smtClean="0"/>
              <a:t>transform</a:t>
            </a:r>
            <a:endParaRPr lang="en-US" dirty="0"/>
          </a:p>
          <a:p>
            <a:endParaRPr lang="en-US" dirty="0"/>
          </a:p>
          <a:p>
            <a:r>
              <a:rPr lang="en-US" dirty="0"/>
              <a:t>Feature Engineering</a:t>
            </a:r>
          </a:p>
          <a:p>
            <a:pPr lvl="1"/>
            <a:r>
              <a:rPr lang="en-US" dirty="0" err="1"/>
              <a:t>StringIndexer</a:t>
            </a:r>
            <a:r>
              <a:rPr lang="en-US" dirty="0"/>
              <a:t> (Occupation, country, gender, birth year variables)</a:t>
            </a:r>
          </a:p>
          <a:p>
            <a:pPr lvl="1"/>
            <a:r>
              <a:rPr lang="en-US" dirty="0" err="1"/>
              <a:t>VectorAssembler</a:t>
            </a:r>
            <a:endParaRPr lang="en-US" dirty="0"/>
          </a:p>
          <a:p>
            <a:pPr lvl="1"/>
            <a:r>
              <a:rPr lang="en-US" dirty="0" smtClean="0"/>
              <a:t>Normalizer</a:t>
            </a:r>
            <a:endParaRPr lang="en-US" dirty="0"/>
          </a:p>
          <a:p>
            <a:endParaRPr lang="en-US" dirty="0"/>
          </a:p>
          <a:p>
            <a:r>
              <a:rPr lang="en-US" dirty="0"/>
              <a:t>Create a Pipeline</a:t>
            </a:r>
          </a:p>
          <a:p>
            <a:endParaRPr lang="en-US" dirty="0"/>
          </a:p>
          <a:p>
            <a:r>
              <a:rPr lang="en-US" dirty="0"/>
              <a:t>Split Ratings data into Training (90%) and Test (10%) datasets</a:t>
            </a:r>
          </a:p>
          <a:p>
            <a:pPr lvl="1"/>
            <a:r>
              <a:rPr lang="en-US" dirty="0"/>
              <a:t>Cache the resulting </a:t>
            </a:r>
            <a:r>
              <a:rPr lang="en-US" dirty="0" err="1"/>
              <a:t>DataFrames</a:t>
            </a:r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Fit the Pipeline to the Test data set</a:t>
            </a:r>
          </a:p>
          <a:p>
            <a:pPr lvl="1"/>
            <a:r>
              <a:rPr lang="en-US" dirty="0"/>
              <a:t>Logistic Regression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13488" y="1212279"/>
            <a:ext cx="2657475" cy="1724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9180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 Flow (continued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100" y="1284287"/>
            <a:ext cx="8805863" cy="4208173"/>
          </a:xfrm>
        </p:spPr>
        <p:txBody>
          <a:bodyPr/>
          <a:lstStyle/>
          <a:p>
            <a:r>
              <a:rPr lang="en-US" dirty="0"/>
              <a:t>Evaluate the resulting predictions</a:t>
            </a:r>
          </a:p>
          <a:p>
            <a:pPr lvl="1"/>
            <a:r>
              <a:rPr lang="en-US" dirty="0"/>
              <a:t>Area under the ROC curve</a:t>
            </a:r>
          </a:p>
          <a:p>
            <a:endParaRPr lang="en-US" dirty="0"/>
          </a:p>
          <a:p>
            <a:r>
              <a:rPr lang="en-US" dirty="0"/>
              <a:t>Tune the model (</a:t>
            </a:r>
            <a:r>
              <a:rPr lang="en-US" dirty="0" err="1"/>
              <a:t>hyperparamaters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Build Parameter Grid</a:t>
            </a:r>
          </a:p>
          <a:p>
            <a:pPr lvl="1"/>
            <a:r>
              <a:rPr lang="en-US" dirty="0"/>
              <a:t>Cross-evaluate to find the best model</a:t>
            </a:r>
          </a:p>
          <a:p>
            <a:pPr marL="342900" lvl="1" indent="0">
              <a:buNone/>
            </a:pPr>
            <a:endParaRPr lang="en-US" dirty="0"/>
          </a:p>
          <a:p>
            <a:r>
              <a:rPr lang="en-US" dirty="0"/>
              <a:t>Make improved predictions using the cross-validated model</a:t>
            </a:r>
          </a:p>
          <a:p>
            <a:endParaRPr lang="en-US" dirty="0"/>
          </a:p>
          <a:p>
            <a:r>
              <a:rPr lang="en-US" dirty="0"/>
              <a:t>Make prediction on an imaginary passenger</a:t>
            </a:r>
          </a:p>
          <a:p>
            <a:endParaRPr lang="en-US" dirty="0"/>
          </a:p>
          <a:p>
            <a:r>
              <a:rPr lang="en-US" dirty="0"/>
              <a:t>Show  how to easily reuse completed work using a different  machine learning algorithm</a:t>
            </a:r>
          </a:p>
          <a:p>
            <a:pPr lvl="1"/>
            <a:r>
              <a:rPr lang="en-US" dirty="0"/>
              <a:t>Random Forest</a:t>
            </a:r>
          </a:p>
          <a:p>
            <a:pPr marL="342900" lvl="1" indent="0">
              <a:buNone/>
            </a:pP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7931" y="755650"/>
            <a:ext cx="2143125" cy="21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58658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570" name="Picture 4" descr="PPP_CHEAD_CLP_ThankYo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838" y="2495550"/>
            <a:ext cx="7348537" cy="215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Text Box 2"/>
          <p:cNvSpPr txBox="1">
            <a:spLocks noChangeArrowheads="1"/>
          </p:cNvSpPr>
          <p:nvPr/>
        </p:nvSpPr>
        <p:spPr bwMode="auto">
          <a:xfrm>
            <a:off x="762000" y="2859088"/>
            <a:ext cx="7488238" cy="120015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  <a:extLst>
            <a:ext uri="{909E8E84-426E-40dd-AFC4-6F175D3DCCD1}"/>
            <a:ext uri="{91240B29-F687-4f45-9708-019B960494DF}"/>
          </a:extLst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7200" dirty="0">
                <a:latin typeface="Arial" charset="0"/>
                <a:ea typeface="ＭＳ Ｐゴシック" charset="0"/>
              </a:rPr>
              <a:t>Backup</a:t>
            </a:r>
          </a:p>
        </p:txBody>
      </p:sp>
      <p:pic>
        <p:nvPicPr>
          <p:cNvPr id="110595" name="Picture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1913" y="661988"/>
            <a:ext cx="1158875" cy="162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MAZ_Template_2013-Aug-2">
  <a:themeElements>
    <a:clrScheme name="blank 16">
      <a:dk1>
        <a:srgbClr val="000000"/>
      </a:dk1>
      <a:lt1>
        <a:srgbClr val="FFFFFF"/>
      </a:lt1>
      <a:dk2>
        <a:srgbClr val="18827D"/>
      </a:dk2>
      <a:lt2>
        <a:srgbClr val="A9A9A9"/>
      </a:lt2>
      <a:accent1>
        <a:srgbClr val="1088DA"/>
      </a:accent1>
      <a:accent2>
        <a:srgbClr val="005BA0"/>
      </a:accent2>
      <a:accent3>
        <a:srgbClr val="FFFFFF"/>
      </a:accent3>
      <a:accent4>
        <a:srgbClr val="000000"/>
      </a:accent4>
      <a:accent5>
        <a:srgbClr val="AAC3EA"/>
      </a:accent5>
      <a:accent6>
        <a:srgbClr val="005291"/>
      </a:accent6>
      <a:hlink>
        <a:srgbClr val="3333FF"/>
      </a:hlink>
      <a:folHlink>
        <a:srgbClr val="FD8A3B"/>
      </a:folHlink>
    </a:clrScheme>
    <a:fontScheme name="S&amp;C Template Example Slides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12" charset="0"/>
            <a:ea typeface="Arial" pitchFamily="-112" charset="0"/>
            <a:cs typeface="Arial" pitchFamily="-11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12" charset="0"/>
            <a:ea typeface="Arial" pitchFamily="-112" charset="0"/>
            <a:cs typeface="Arial" pitchFamily="-112" charset="0"/>
          </a:defRPr>
        </a:defPPr>
      </a:lstStyle>
    </a:lnDef>
  </a:objectDefaults>
  <a:extraClrSchemeLst>
    <a:extraClrScheme>
      <a:clrScheme name="S&amp;C Template Example Slides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&amp;C Template Example Slides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8">
        <a:dk1>
          <a:srgbClr val="000000"/>
        </a:dk1>
        <a:lt1>
          <a:srgbClr val="FFFFFF"/>
        </a:lt1>
        <a:dk2>
          <a:srgbClr val="199B9B"/>
        </a:dk2>
        <a:lt2>
          <a:srgbClr val="666666"/>
        </a:lt2>
        <a:accent1>
          <a:srgbClr val="6699CC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B8CAE2"/>
        </a:accent5>
        <a:accent6>
          <a:srgbClr val="8AB9E7"/>
        </a:accent6>
        <a:hlink>
          <a:srgbClr val="FF6B07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9">
        <a:dk1>
          <a:srgbClr val="000000"/>
        </a:dk1>
        <a:lt1>
          <a:srgbClr val="FFFFFF"/>
        </a:lt1>
        <a:dk2>
          <a:srgbClr val="33CCCC"/>
        </a:dk2>
        <a:lt2>
          <a:srgbClr val="666666"/>
        </a:lt2>
        <a:accent1>
          <a:srgbClr val="6699CC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B8CAE2"/>
        </a:accent5>
        <a:accent6>
          <a:srgbClr val="8AB9E7"/>
        </a:accent6>
        <a:hlink>
          <a:srgbClr val="199B9B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0">
        <a:dk1>
          <a:srgbClr val="000000"/>
        </a:dk1>
        <a:lt1>
          <a:srgbClr val="FFFFFF"/>
        </a:lt1>
        <a:dk2>
          <a:srgbClr val="33CCCC"/>
        </a:dk2>
        <a:lt2>
          <a:srgbClr val="6699CC"/>
        </a:lt2>
        <a:accent1>
          <a:srgbClr val="006699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8AB9E7"/>
        </a:accent6>
        <a:hlink>
          <a:srgbClr val="199B9B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1">
        <a:dk1>
          <a:srgbClr val="000000"/>
        </a:dk1>
        <a:lt1>
          <a:srgbClr val="FFFFFF"/>
        </a:lt1>
        <a:dk2>
          <a:srgbClr val="33CCCC"/>
        </a:dk2>
        <a:lt2>
          <a:srgbClr val="6699CC"/>
        </a:lt2>
        <a:accent1>
          <a:srgbClr val="006699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8AB9E7"/>
        </a:accent6>
        <a:hlink>
          <a:srgbClr val="199B9B"/>
        </a:hlink>
        <a:folHlink>
          <a:srgbClr val="703BE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2">
        <a:dk1>
          <a:srgbClr val="000000"/>
        </a:dk1>
        <a:lt1>
          <a:srgbClr val="FFFFFF"/>
        </a:lt1>
        <a:dk2>
          <a:srgbClr val="2BB0AD"/>
        </a:dk2>
        <a:lt2>
          <a:srgbClr val="B9B9B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969696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3">
        <a:dk1>
          <a:srgbClr val="000000"/>
        </a:dk1>
        <a:lt1>
          <a:srgbClr val="FFFFFF"/>
        </a:lt1>
        <a:dk2>
          <a:srgbClr val="2BB0AD"/>
        </a:dk2>
        <a:lt2>
          <a:srgbClr val="B9B9B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FD8A3B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4">
        <a:dk1>
          <a:srgbClr val="000000"/>
        </a:dk1>
        <a:lt1>
          <a:srgbClr val="FFFFFF"/>
        </a:lt1>
        <a:dk2>
          <a:srgbClr val="18827D"/>
        </a:dk2>
        <a:lt2>
          <a:srgbClr val="A9A9A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777777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5">
        <a:dk1>
          <a:srgbClr val="000000"/>
        </a:dk1>
        <a:lt1>
          <a:srgbClr val="FFFFFF"/>
        </a:lt1>
        <a:dk2>
          <a:srgbClr val="18827D"/>
        </a:dk2>
        <a:lt2>
          <a:srgbClr val="A9A9A9"/>
        </a:lt2>
        <a:accent1>
          <a:srgbClr val="1088DA"/>
        </a:accent1>
        <a:accent2>
          <a:srgbClr val="005BA0"/>
        </a:accent2>
        <a:accent3>
          <a:srgbClr val="FFFFFF"/>
        </a:accent3>
        <a:accent4>
          <a:srgbClr val="000000"/>
        </a:accent4>
        <a:accent5>
          <a:srgbClr val="AAC3EA"/>
        </a:accent5>
        <a:accent6>
          <a:srgbClr val="005291"/>
        </a:accent6>
        <a:hlink>
          <a:srgbClr val="777777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199B9B"/>
        </a:dk2>
        <a:lt2>
          <a:srgbClr val="666666"/>
        </a:lt2>
        <a:accent1>
          <a:srgbClr val="6699CC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B8CAE2"/>
        </a:accent5>
        <a:accent6>
          <a:srgbClr val="8AB9E7"/>
        </a:accent6>
        <a:hlink>
          <a:srgbClr val="FF6B07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9">
        <a:dk1>
          <a:srgbClr val="000000"/>
        </a:dk1>
        <a:lt1>
          <a:srgbClr val="FFFFFF"/>
        </a:lt1>
        <a:dk2>
          <a:srgbClr val="33CCCC"/>
        </a:dk2>
        <a:lt2>
          <a:srgbClr val="666666"/>
        </a:lt2>
        <a:accent1>
          <a:srgbClr val="6699CC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B8CAE2"/>
        </a:accent5>
        <a:accent6>
          <a:srgbClr val="8AB9E7"/>
        </a:accent6>
        <a:hlink>
          <a:srgbClr val="199B9B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0">
        <a:dk1>
          <a:srgbClr val="000000"/>
        </a:dk1>
        <a:lt1>
          <a:srgbClr val="FFFFFF"/>
        </a:lt1>
        <a:dk2>
          <a:srgbClr val="33CCCC"/>
        </a:dk2>
        <a:lt2>
          <a:srgbClr val="6699CC"/>
        </a:lt2>
        <a:accent1>
          <a:srgbClr val="006699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8AB9E7"/>
        </a:accent6>
        <a:hlink>
          <a:srgbClr val="199B9B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1">
        <a:dk1>
          <a:srgbClr val="000000"/>
        </a:dk1>
        <a:lt1>
          <a:srgbClr val="FFFFFF"/>
        </a:lt1>
        <a:dk2>
          <a:srgbClr val="33CCCC"/>
        </a:dk2>
        <a:lt2>
          <a:srgbClr val="6699CC"/>
        </a:lt2>
        <a:accent1>
          <a:srgbClr val="006699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8AB9E7"/>
        </a:accent6>
        <a:hlink>
          <a:srgbClr val="199B9B"/>
        </a:hlink>
        <a:folHlink>
          <a:srgbClr val="703BE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2">
        <a:dk1>
          <a:srgbClr val="000000"/>
        </a:dk1>
        <a:lt1>
          <a:srgbClr val="FFFFFF"/>
        </a:lt1>
        <a:dk2>
          <a:srgbClr val="2BB0AD"/>
        </a:dk2>
        <a:lt2>
          <a:srgbClr val="B9B9B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969696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3">
        <a:dk1>
          <a:srgbClr val="000000"/>
        </a:dk1>
        <a:lt1>
          <a:srgbClr val="FFFFFF"/>
        </a:lt1>
        <a:dk2>
          <a:srgbClr val="2BB0AD"/>
        </a:dk2>
        <a:lt2>
          <a:srgbClr val="B9B9B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FD8A3B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4">
        <a:dk1>
          <a:srgbClr val="000000"/>
        </a:dk1>
        <a:lt1>
          <a:srgbClr val="FFFFFF"/>
        </a:lt1>
        <a:dk2>
          <a:srgbClr val="18827D"/>
        </a:dk2>
        <a:lt2>
          <a:srgbClr val="A9A9A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777777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5">
        <a:dk1>
          <a:srgbClr val="000000"/>
        </a:dk1>
        <a:lt1>
          <a:srgbClr val="FFFFFF"/>
        </a:lt1>
        <a:dk2>
          <a:srgbClr val="18827D"/>
        </a:dk2>
        <a:lt2>
          <a:srgbClr val="A9A9A9"/>
        </a:lt2>
        <a:accent1>
          <a:srgbClr val="1088DA"/>
        </a:accent1>
        <a:accent2>
          <a:srgbClr val="005BA0"/>
        </a:accent2>
        <a:accent3>
          <a:srgbClr val="FFFFFF"/>
        </a:accent3>
        <a:accent4>
          <a:srgbClr val="000000"/>
        </a:accent4>
        <a:accent5>
          <a:srgbClr val="AAC3EA"/>
        </a:accent5>
        <a:accent6>
          <a:srgbClr val="005291"/>
        </a:accent6>
        <a:hlink>
          <a:srgbClr val="777777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6">
        <a:dk1>
          <a:srgbClr val="000000"/>
        </a:dk1>
        <a:lt1>
          <a:srgbClr val="FFFFFF"/>
        </a:lt1>
        <a:dk2>
          <a:srgbClr val="18827D"/>
        </a:dk2>
        <a:lt2>
          <a:srgbClr val="A9A9A9"/>
        </a:lt2>
        <a:accent1>
          <a:srgbClr val="1088DA"/>
        </a:accent1>
        <a:accent2>
          <a:srgbClr val="005BA0"/>
        </a:accent2>
        <a:accent3>
          <a:srgbClr val="FFFFFF"/>
        </a:accent3>
        <a:accent4>
          <a:srgbClr val="000000"/>
        </a:accent4>
        <a:accent5>
          <a:srgbClr val="AAC3EA"/>
        </a:accent5>
        <a:accent6>
          <a:srgbClr val="005291"/>
        </a:accent6>
        <a:hlink>
          <a:srgbClr val="3333FF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2 [Compatibility Mode]" id="{A1CC78D2-35A8-4C6C-934A-3FB81902F895}" vid="{1933E8BC-9F35-48F6-A4EC-EA68C19B4559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588</TotalTime>
  <Words>615</Words>
  <Application>Microsoft Macintosh PowerPoint</Application>
  <PresentationFormat>On-screen Show (4:3)</PresentationFormat>
  <Paragraphs>123</Paragraphs>
  <Slides>10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Helvetica</vt:lpstr>
      <vt:lpstr>MS PGothic</vt:lpstr>
      <vt:lpstr>ＭＳ Ｐゴシック</vt:lpstr>
      <vt:lpstr>Times New Roman</vt:lpstr>
      <vt:lpstr>Wingdings</vt:lpstr>
      <vt:lpstr>Arial</vt:lpstr>
      <vt:lpstr>IMAZ_Template_2013-Aug-2</vt:lpstr>
      <vt:lpstr>think-cell Slide</vt:lpstr>
      <vt:lpstr>Spark Machine Learning Classification  </vt:lpstr>
      <vt:lpstr>Spark ML Pipeline Terminology</vt:lpstr>
      <vt:lpstr>Pipelines – How they work</vt:lpstr>
      <vt:lpstr>Demo Data – Generated Female Human Trafficking Data</vt:lpstr>
      <vt:lpstr>Demo Data </vt:lpstr>
      <vt:lpstr>Demo Flow</vt:lpstr>
      <vt:lpstr>Demo Flow (continued)</vt:lpstr>
      <vt:lpstr>PowerPoint Presentation</vt:lpstr>
      <vt:lpstr>PowerPoint Presentation</vt:lpstr>
      <vt:lpstr>PowerPoint Presentation</vt:lpstr>
    </vt:vector>
  </TitlesOfParts>
  <Company>IBM Corporation</Company>
  <LinksUpToDate>false</LinksUpToDate>
  <SharedDoc>false</SharedDoc>
  <HyperlinksChanged>false</HyperlinksChanged>
  <AppVersion>15.0031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Dirk</dc:creator>
  <cp:lastModifiedBy>DAVIN SHEARER</cp:lastModifiedBy>
  <cp:revision>399</cp:revision>
  <dcterms:created xsi:type="dcterms:W3CDTF">2015-01-22T19:18:00Z</dcterms:created>
  <dcterms:modified xsi:type="dcterms:W3CDTF">2017-03-24T15:21:47Z</dcterms:modified>
</cp:coreProperties>
</file>